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73" r:id="rId1"/>
    <p:sldMasterId id="2147483692" r:id="rId2"/>
  </p:sldMasterIdLst>
  <p:notesMasterIdLst>
    <p:notesMasterId r:id="rId14"/>
  </p:notesMasterIdLst>
  <p:sldIdLst>
    <p:sldId id="258" r:id="rId3"/>
    <p:sldId id="316" r:id="rId4"/>
    <p:sldId id="319" r:id="rId5"/>
    <p:sldId id="326" r:id="rId6"/>
    <p:sldId id="320" r:id="rId7"/>
    <p:sldId id="337" r:id="rId8"/>
    <p:sldId id="336" r:id="rId9"/>
    <p:sldId id="322" r:id="rId10"/>
    <p:sldId id="338" r:id="rId11"/>
    <p:sldId id="323" r:id="rId12"/>
    <p:sldId id="324" r:id="rId13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1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456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5028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5028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61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660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99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124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201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1EBFEE-287F-4704-BA19-562E124371D1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249306-97DC-43C1-BAC9-A19CB327F0E5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1D0FE8-6566-436D-BF7B-24746FFDE975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529371-66B6-4CB3-B143-6013C0AFA70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CCA103-E018-412A-A81F-254CC6BBF17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5C796-A2F7-4D57-8C59-E42CF1C0978D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E8C4DB-0842-4230-96C0-F24C3847D8AC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1A872E-1EF4-4D36-BA54-A5F2D018072C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B0BD1-677C-49FE-B42E-CB3A2C2CB6E4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FF8493-25D1-470D-9A2E-194507DCF9C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28919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9C63EC-D6E7-4711-9F84-0DEFD641F9B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3997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A31FC9-C7DF-4F4F-BEDC-04194C117A8E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24C0D-0C2E-41AD-BE07-863C01DEEA0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170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B8B282-67F1-4D66-9E0B-A4DC66FE83A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21774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89E256-3E9E-4C41-ACD9-C20B94D4B4F4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8820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3FB39-B406-45B4-AABE-1CE80E65F0C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2799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71883-B5D9-4233-83B8-4EF39B5CF9D6}" type="datetime1">
              <a:rPr lang="en-US" smtClean="0"/>
              <a:t>10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2784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2B1279-6F50-499B-93ED-030FC415BE3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8950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9F191-83D5-4B06-8DDE-F67C20B7A92C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92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73FDF1-2B3F-4EA0-9722-E822A57591D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3239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BE564C-ADCB-4192-842F-740F50A7B7E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9032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8240A-AF4A-4E0A-A543-CDBD45AE3F3F}" type="datetime1">
              <a:rPr lang="en-US" smtClean="0"/>
              <a:t>10/7/2024</a:t>
            </a:fld>
            <a:endParaRPr lang="en-US"/>
          </a:p>
        </p:txBody>
      </p:sp>
      <p:sp>
        <p:nvSpPr>
          <p:cNvPr id="5" name="Foo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947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01016-24D7-43E3-B4AC-96242C549FF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8BCAA-6D4B-4DC0-B6DF-D8A5B7815D04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15AD52-A400-4129-B361-F62B2DEDF64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98D039-79B6-4540-B761-CEFBB8E9F94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24C4A-AAB2-4123-B0F7-AC8F7A0CBEF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B617C0-1B5D-4BAA-B148-FE94908CC03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D7F8FB-C532-441A-8FDA-99BF55138B4D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9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9FABDF-C247-464B-AA24-8A0F01879BF3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F898E6-B846-448E-A7DD-7B07FF97393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5"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11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666" r:id="rId13"/>
    <p:sldLayoutId id="214748366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142676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ерін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алау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қ.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>
              <a:defRPr/>
            </a:pPr>
            <a:r>
              <a:rPr lang="ru-RU" sz="2000" b="1" dirty="0">
                <a:solidFill>
                  <a:prstClr val="white"/>
                </a:solidFill>
                <a:latin typeface="Bookman Old Style" panose="02050604050505020204" pitchFamily="18" charset="0"/>
                <a:cs typeface="Arial" panose="020B0604020202020204" pitchFamily="34" charset="0"/>
              </a:rPr>
              <a:t>ОҢТАЙЛАНДЫРҒАН ДЕКЛАРАЦИЯ НЕГІЗІНДЕ АСР ЭҚЖЖ ТЫЙЫМ САЛУ ТІЗІМІ</a:t>
            </a:r>
          </a:p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(1/2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0" y="709893"/>
            <a:ext cx="5962389" cy="601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іртк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ихотропт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урсорл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делет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і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нзинд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изель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н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зут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терінд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ереялард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актив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і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лдалд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з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к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ондары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д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у-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здеуг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ицензия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т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қтар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д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рлар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, 2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ғ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л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дағ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р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ғамд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мақт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лқ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.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  <a:endParaRPr lang="en-US" sz="11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ялық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етингтік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удит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lang="en-US" sz="11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kk-KZ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қық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лет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т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релігі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11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автомобиль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ын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гіні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тро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kk-KZ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1" lang="kk-KZ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449602" y="720537"/>
            <a:ext cx="5639621" cy="56784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з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гистральдық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бырлар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ом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б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том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ка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ул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нельд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лық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тіктер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иелі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рол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талл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деріні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лесп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з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стег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нат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у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гіні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қтар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дерг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зғалтқыштарда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д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ларын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с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ме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ме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мілел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лі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мбардт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нд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і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ға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25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пайызда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; 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згілд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СР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;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СР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; 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лар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ЖТ, ЖК) ; 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Т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</a:t>
            </a:r>
            <a:endParaRPr lang="ru-RU" sz="11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4975" indent="-171450">
              <a:buFont typeface="Arial" panose="020B0604020202020204" pitchFamily="34" charset="0"/>
              <a:buChar char="•"/>
            </a:pP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434975" indent="-171450">
              <a:buFont typeface="Arial" panose="020B0604020202020204" pitchFamily="34" charset="0"/>
              <a:buChar char="•"/>
            </a:pP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индустрия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ймақтардың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«Астана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Хаб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паркінің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0" indent="-171450">
              <a:buFont typeface="Wingdings" panose="05000000000000000000" pitchFamily="2" charset="2"/>
              <a:buChar char="v"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пта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сынд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2456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 ЖӘНЕ ҰСЫНЫЛАТЫН МӨЛШЕРЛЕМЕЛЕР БОЙЫНША АҚПАРАТ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989621"/>
              </p:ext>
            </p:extLst>
          </p:nvPr>
        </p:nvGraphicFramePr>
        <p:xfrm>
          <a:off x="49164" y="978356"/>
          <a:ext cx="12082783" cy="5110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3495">
                  <a:extLst>
                    <a:ext uri="{9D8B030D-6E8A-4147-A177-3AD203B41FA5}">
                      <a16:colId xmlns:a16="http://schemas.microsoft.com/office/drawing/2014/main" val="1442383604"/>
                    </a:ext>
                  </a:extLst>
                </a:gridCol>
                <a:gridCol w="1201654">
                  <a:extLst>
                    <a:ext uri="{9D8B030D-6E8A-4147-A177-3AD203B41FA5}">
                      <a16:colId xmlns:a16="http://schemas.microsoft.com/office/drawing/2014/main" val="677090320"/>
                    </a:ext>
                  </a:extLst>
                </a:gridCol>
                <a:gridCol w="766366">
                  <a:extLst>
                    <a:ext uri="{9D8B030D-6E8A-4147-A177-3AD203B41FA5}">
                      <a16:colId xmlns:a16="http://schemas.microsoft.com/office/drawing/2014/main" val="3892126857"/>
                    </a:ext>
                  </a:extLst>
                </a:gridCol>
                <a:gridCol w="911120">
                  <a:extLst>
                    <a:ext uri="{9D8B030D-6E8A-4147-A177-3AD203B41FA5}">
                      <a16:colId xmlns:a16="http://schemas.microsoft.com/office/drawing/2014/main" val="3543918213"/>
                    </a:ext>
                  </a:extLst>
                </a:gridCol>
                <a:gridCol w="811074">
                  <a:extLst>
                    <a:ext uri="{9D8B030D-6E8A-4147-A177-3AD203B41FA5}">
                      <a16:colId xmlns:a16="http://schemas.microsoft.com/office/drawing/2014/main" val="927715003"/>
                    </a:ext>
                  </a:extLst>
                </a:gridCol>
                <a:gridCol w="746942">
                  <a:extLst>
                    <a:ext uri="{9D8B030D-6E8A-4147-A177-3AD203B41FA5}">
                      <a16:colId xmlns:a16="http://schemas.microsoft.com/office/drawing/2014/main" val="1064085439"/>
                    </a:ext>
                  </a:extLst>
                </a:gridCol>
                <a:gridCol w="427250">
                  <a:extLst>
                    <a:ext uri="{9D8B030D-6E8A-4147-A177-3AD203B41FA5}">
                      <a16:colId xmlns:a16="http://schemas.microsoft.com/office/drawing/2014/main" val="1141667886"/>
                    </a:ext>
                  </a:extLst>
                </a:gridCol>
                <a:gridCol w="534154">
                  <a:extLst>
                    <a:ext uri="{9D8B030D-6E8A-4147-A177-3AD203B41FA5}">
                      <a16:colId xmlns:a16="http://schemas.microsoft.com/office/drawing/2014/main" val="207749641"/>
                    </a:ext>
                  </a:extLst>
                </a:gridCol>
                <a:gridCol w="516048">
                  <a:extLst>
                    <a:ext uri="{9D8B030D-6E8A-4147-A177-3AD203B41FA5}">
                      <a16:colId xmlns:a16="http://schemas.microsoft.com/office/drawing/2014/main" val="1007786040"/>
                    </a:ext>
                  </a:extLst>
                </a:gridCol>
                <a:gridCol w="597528">
                  <a:extLst>
                    <a:ext uri="{9D8B030D-6E8A-4147-A177-3AD203B41FA5}">
                      <a16:colId xmlns:a16="http://schemas.microsoft.com/office/drawing/2014/main" val="921346712"/>
                    </a:ext>
                  </a:extLst>
                </a:gridCol>
                <a:gridCol w="633743">
                  <a:extLst>
                    <a:ext uri="{9D8B030D-6E8A-4147-A177-3AD203B41FA5}">
                      <a16:colId xmlns:a16="http://schemas.microsoft.com/office/drawing/2014/main" val="645835081"/>
                    </a:ext>
                  </a:extLst>
                </a:gridCol>
                <a:gridCol w="624689">
                  <a:extLst>
                    <a:ext uri="{9D8B030D-6E8A-4147-A177-3AD203B41FA5}">
                      <a16:colId xmlns:a16="http://schemas.microsoft.com/office/drawing/2014/main" val="4257034295"/>
                    </a:ext>
                  </a:extLst>
                </a:gridCol>
                <a:gridCol w="932507">
                  <a:extLst>
                    <a:ext uri="{9D8B030D-6E8A-4147-A177-3AD203B41FA5}">
                      <a16:colId xmlns:a16="http://schemas.microsoft.com/office/drawing/2014/main" val="743036631"/>
                    </a:ext>
                  </a:extLst>
                </a:gridCol>
                <a:gridCol w="796705">
                  <a:extLst>
                    <a:ext uri="{9D8B030D-6E8A-4147-A177-3AD203B41FA5}">
                      <a16:colId xmlns:a16="http://schemas.microsoft.com/office/drawing/2014/main" val="3716026871"/>
                    </a:ext>
                  </a:extLst>
                </a:gridCol>
                <a:gridCol w="868768">
                  <a:extLst>
                    <a:ext uri="{9D8B030D-6E8A-4147-A177-3AD203B41FA5}">
                      <a16:colId xmlns:a16="http://schemas.microsoft.com/office/drawing/2014/main" val="242352874"/>
                    </a:ext>
                  </a:extLst>
                </a:gridCol>
                <a:gridCol w="710740">
                  <a:extLst>
                    <a:ext uri="{9D8B030D-6E8A-4147-A177-3AD203B41FA5}">
                      <a16:colId xmlns:a16="http://schemas.microsoft.com/office/drawing/2014/main" val="2896722201"/>
                    </a:ext>
                  </a:extLst>
                </a:gridCol>
              </a:tblGrid>
              <a:tr h="38507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ңа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дексіндегі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даныстағы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endParaRPr lang="en-US" sz="10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</a:t>
                      </a:r>
                      <a:b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990432"/>
                  </a:ext>
                </a:extLst>
              </a:tr>
              <a:tr h="4755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леушілер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 (2023 ж.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птелд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даныстағы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ңа</a:t>
                      </a:r>
                      <a:r>
                        <a:rPr lang="ru-RU" sz="1000" b="1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ңа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лер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птеу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джеттің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ғалуы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месе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ғаюы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b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149163"/>
                  </a:ext>
                </a:extLst>
              </a:tr>
              <a:tr h="2579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С/КТ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С/КТ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С/КТ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С/КТ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С/КТС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леуметтік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8471263"/>
                  </a:ext>
                </a:extLst>
              </a:tr>
              <a:tr h="35757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ін-өзі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ығандар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тент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інд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1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9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166 40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51 66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 351 66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 351 664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342785"/>
                  </a:ext>
                </a:extLst>
              </a:tr>
              <a:tr h="5121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найы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бильді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ымшаны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йдалану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0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694 94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94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6 94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6 94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107891"/>
                  </a:ext>
                </a:extLst>
              </a:tr>
              <a:tr h="3252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формалық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у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068170"/>
                  </a:ext>
                </a:extLst>
              </a:tr>
              <a:tr h="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ОБ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ңайлатылған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кларация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інд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3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31 68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070 910 2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4 041 34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705 66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 (50% -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өмендеуді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кер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ырып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2% (ЖБР-да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5758011"/>
                  </a:ext>
                </a:extLst>
              </a:tr>
              <a:tr h="379308">
                <a:tc v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5 449 02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1 407 68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80 705 66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0 702 011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3988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ың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шінд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ЖБР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кен-жайына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70 241 339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328220"/>
                  </a:ext>
                </a:extLst>
              </a:tr>
              <a:tr h="2496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4 428 961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906740"/>
                  </a:ext>
                </a:extLst>
              </a:tr>
              <a:tr h="3575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лар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ск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ыру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ЖТ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Р)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700 668 896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1 020 067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059099"/>
                  </a:ext>
                </a:extLst>
              </a:tr>
              <a:tr h="4088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рісі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,5 млрд</a:t>
                      </a:r>
                      <a:r>
                        <a:rPr lang="ru-RU" sz="100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% и 8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05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 509 38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033 29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2 до 4 и 8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015 282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 018 01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 018 017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5388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іркелген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герім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рісі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,5 млрд (10% и 20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3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830 39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77 04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 2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2077620"/>
                  </a:ext>
                </a:extLst>
              </a:tr>
              <a:tr h="48716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04 912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72 1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72 134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98832"/>
                  </a:ext>
                </a:extLst>
              </a:tr>
              <a:tr h="357575">
                <a:tc gridSpan="2">
                  <a:txBody>
                    <a:bodyPr/>
                    <a:lstStyle/>
                    <a:p>
                      <a:pPr algn="ctr" fontAlgn="t"/>
                      <a:endParaRPr lang="ru-RU" sz="1000" b="1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17 57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280 111 36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4 270 306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705 66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7 469 221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3 198 915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80 705 66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2 493 246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163307"/>
                  </a:ext>
                </a:extLst>
              </a:tr>
            </a:tbl>
          </a:graphicData>
        </a:graphic>
      </p:graphicFrame>
      <p:sp>
        <p:nvSpPr>
          <p:cNvPr id="6" name="object 5"/>
          <p:cNvSpPr txBox="1"/>
          <p:nvPr/>
        </p:nvSpPr>
        <p:spPr>
          <a:xfrm>
            <a:off x="11349286" y="741362"/>
            <a:ext cx="1311662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239"/>
              </a:lnSpc>
            </a:pPr>
            <a:r>
              <a:rPr lang="ru-RU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нг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28260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76788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АҒЫМДАҒЫ РЕЖИМДЕР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A62DD89-8979-CCA6-ADF5-7E149821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0093647"/>
              </p:ext>
            </p:extLst>
          </p:nvPr>
        </p:nvGraphicFramePr>
        <p:xfrm>
          <a:off x="181069" y="860080"/>
          <a:ext cx="11831544" cy="5811222"/>
        </p:xfrm>
        <a:graphic>
          <a:graphicData uri="http://schemas.openxmlformats.org/drawingml/2006/table">
            <a:tbl>
              <a:tblPr/>
              <a:tblGrid>
                <a:gridCol w="2335794">
                  <a:extLst>
                    <a:ext uri="{9D8B030D-6E8A-4147-A177-3AD203B41FA5}">
                      <a16:colId xmlns:a16="http://schemas.microsoft.com/office/drawing/2014/main" val="3397614102"/>
                    </a:ext>
                  </a:extLst>
                </a:gridCol>
                <a:gridCol w="1674891">
                  <a:extLst>
                    <a:ext uri="{9D8B030D-6E8A-4147-A177-3AD203B41FA5}">
                      <a16:colId xmlns:a16="http://schemas.microsoft.com/office/drawing/2014/main" val="1502881915"/>
                    </a:ext>
                  </a:extLst>
                </a:gridCol>
                <a:gridCol w="1584356">
                  <a:extLst>
                    <a:ext uri="{9D8B030D-6E8A-4147-A177-3AD203B41FA5}">
                      <a16:colId xmlns:a16="http://schemas.microsoft.com/office/drawing/2014/main" val="2383794942"/>
                    </a:ext>
                  </a:extLst>
                </a:gridCol>
                <a:gridCol w="2833735">
                  <a:extLst>
                    <a:ext uri="{9D8B030D-6E8A-4147-A177-3AD203B41FA5}">
                      <a16:colId xmlns:a16="http://schemas.microsoft.com/office/drawing/2014/main" val="1428409228"/>
                    </a:ext>
                  </a:extLst>
                </a:gridCol>
                <a:gridCol w="1828801">
                  <a:extLst>
                    <a:ext uri="{9D8B030D-6E8A-4147-A177-3AD203B41FA5}">
                      <a16:colId xmlns:a16="http://schemas.microsoft.com/office/drawing/2014/main" val="3488992352"/>
                    </a:ext>
                  </a:extLst>
                </a:gridCol>
                <a:gridCol w="1573967">
                  <a:extLst>
                    <a:ext uri="{9D8B030D-6E8A-4147-A177-3AD203B41FA5}">
                      <a16:colId xmlns:a16="http://schemas.microsoft.com/office/drawing/2014/main" val="1722745658"/>
                    </a:ext>
                  </a:extLst>
                </a:gridCol>
              </a:tblGrid>
              <a:tr h="64125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indent="457200" algn="l" rtl="0" fontAlgn="ctr"/>
                      <a:endParaRPr lang="x-none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Нысан</a:t>
                      </a:r>
                      <a:endParaRPr lang="ru-RU" sz="1400" b="1" u="non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u="non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b="1" u="non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u="non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ш</a:t>
                      </a:r>
                      <a:r>
                        <a:rPr lang="ru-RU" sz="1400" b="1" u="non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егі</a:t>
                      </a:r>
                      <a:endParaRPr lang="ru-RU" sz="1400" b="1" u="non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Қызметкерлер</a:t>
                      </a: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u="non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323301"/>
                  </a:ext>
                </a:extLst>
              </a:tr>
              <a:tr h="54194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тен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528 АЕК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13 млн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3703"/>
                  </a:ext>
                </a:extLst>
              </a:tr>
              <a:tr h="45024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бильді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сымша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528 АЕК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13 млн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8525"/>
                  </a:ext>
                </a:extLst>
              </a:tr>
              <a:tr h="67534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етілге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еклар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, ЖШ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 038 АЕК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артыжылдықт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88,7 млн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дамғ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460155"/>
                  </a:ext>
                </a:extLst>
              </a:tr>
              <a:tr h="6245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ұрақты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ерім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, ЖШ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70%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ерім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4 184 АЕК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532 млн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дамғ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% - ЖШС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 - ЖК</a:t>
                      </a: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847426"/>
                  </a:ext>
                </a:extLst>
              </a:tr>
              <a:tr h="6245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қ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, ЖШ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ЕТҚ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0 000 АЕК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2,2 млрд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0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дамғ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-2%- В2С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% - В2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36835"/>
                  </a:ext>
                </a:extLst>
              </a:tr>
              <a:tr h="7179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Т-АШТӨ (-70%)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Т-АШТӨ,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жалықтар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алп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лгіленген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жимдегі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алықтар-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61818"/>
                  </a:ext>
                </a:extLst>
              </a:tr>
              <a:tr h="153544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жалықтары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ЖС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жалықтар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р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часкесінің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удан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ға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ктеулер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886633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026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 </a:t>
            </a:r>
            <a:r>
              <a:rPr lang="kk-KZ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ІНІҢ КЕМШІЛІКТЕРІ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2134" y="1321806"/>
            <a:ext cx="11063339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>
              <a:lnSpc>
                <a:spcPct val="150000"/>
              </a:lnSpc>
            </a:pPr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indent="-285750" algn="just">
              <a:buFont typeface="Wingdings" panose="05000000000000000000" pitchFamily="2" charset="2"/>
              <a:buChar char="Ø"/>
            </a:pP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тің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кро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изнес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ына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уге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ыры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лар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,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н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де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ақтау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ад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мдеріндегі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та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тің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і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діреді</a:t>
            </a:r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6688" algn="just"/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indent="-285750" algn="just">
              <a:buFont typeface="Wingdings" panose="05000000000000000000" pitchFamily="2" charset="2"/>
              <a:buChar char="Ø"/>
            </a:pPr>
            <a:r>
              <a:rPr lang="kk-KZ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әсекелестік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н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рмалайд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л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та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ке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н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шектеу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ың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етілге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ықсыз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пен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әсекелесу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ынырақ</a:t>
            </a:r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893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ҚОЛДАНАТЫН САЛЫҚ ТӨЛЕУШІЛЕР БОЙЫНША АҚПАРАТ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5A62DD89-8979-CCA6-ADF5-7E149821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608675"/>
              </p:ext>
            </p:extLst>
          </p:nvPr>
        </p:nvGraphicFramePr>
        <p:xfrm>
          <a:off x="305771" y="924026"/>
          <a:ext cx="11569569" cy="5505650"/>
        </p:xfrm>
        <a:graphic>
          <a:graphicData uri="http://schemas.openxmlformats.org/drawingml/2006/table">
            <a:tbl>
              <a:tblPr/>
              <a:tblGrid>
                <a:gridCol w="2723953">
                  <a:extLst>
                    <a:ext uri="{9D8B030D-6E8A-4147-A177-3AD203B41FA5}">
                      <a16:colId xmlns:a16="http://schemas.microsoft.com/office/drawing/2014/main" val="3397614102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502881915"/>
                    </a:ext>
                  </a:extLst>
                </a:gridCol>
                <a:gridCol w="1722922">
                  <a:extLst>
                    <a:ext uri="{9D8B030D-6E8A-4147-A177-3AD203B41FA5}">
                      <a16:colId xmlns:a16="http://schemas.microsoft.com/office/drawing/2014/main" val="537026919"/>
                    </a:ext>
                  </a:extLst>
                </a:gridCol>
                <a:gridCol w="2120539">
                  <a:extLst>
                    <a:ext uri="{9D8B030D-6E8A-4147-A177-3AD203B41FA5}">
                      <a16:colId xmlns:a16="http://schemas.microsoft.com/office/drawing/2014/main" val="3352297387"/>
                    </a:ext>
                  </a:extLst>
                </a:gridCol>
                <a:gridCol w="1057785">
                  <a:extLst>
                    <a:ext uri="{9D8B030D-6E8A-4147-A177-3AD203B41FA5}">
                      <a16:colId xmlns:a16="http://schemas.microsoft.com/office/drawing/2014/main" val="809123538"/>
                    </a:ext>
                  </a:extLst>
                </a:gridCol>
                <a:gridCol w="1057785">
                  <a:extLst>
                    <a:ext uri="{9D8B030D-6E8A-4147-A177-3AD203B41FA5}">
                      <a16:colId xmlns:a16="http://schemas.microsoft.com/office/drawing/2014/main" val="516999224"/>
                    </a:ext>
                  </a:extLst>
                </a:gridCol>
                <a:gridCol w="1057785">
                  <a:extLst>
                    <a:ext uri="{9D8B030D-6E8A-4147-A177-3AD203B41FA5}">
                      <a16:colId xmlns:a16="http://schemas.microsoft.com/office/drawing/2014/main" val="4240458017"/>
                    </a:ext>
                  </a:extLst>
                </a:gridCol>
              </a:tblGrid>
              <a:tr h="58651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indent="457200" algn="l" rtl="0" fontAlgn="ctr"/>
                      <a:endParaRPr lang="x-none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 ж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 ж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 ж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ж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ж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ж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323301"/>
                  </a:ext>
                </a:extLst>
              </a:tr>
              <a:tr h="4956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тен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6 78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7 73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 215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112</a:t>
                      </a:r>
                      <a:endParaRPr lang="en-US" sz="1600" b="0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 77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90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3703"/>
                  </a:ext>
                </a:extLst>
              </a:tr>
              <a:tr h="41180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бильді</a:t>
                      </a: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сымша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0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8525"/>
                  </a:ext>
                </a:extLst>
              </a:tr>
              <a:tr h="6176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етілген</a:t>
                      </a: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еклар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77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6 470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9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57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87 554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82 686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31 685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460155"/>
                  </a:ext>
                </a:extLst>
              </a:tr>
              <a:tr h="5712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ұрақты</a:t>
                      </a: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ерім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4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7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3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69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847426"/>
                  </a:ext>
                </a:extLst>
              </a:tr>
              <a:tr h="5712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қ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37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51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550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36835"/>
                  </a:ext>
                </a:extLst>
              </a:tr>
              <a:tr h="7505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Т-АШТӨ (-70%)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3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25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30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46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214990"/>
                  </a:ext>
                </a:extLst>
              </a:tr>
              <a:tr h="7505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жалықтары</a:t>
                      </a: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6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ЖС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 35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 07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5 93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 46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 28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7 58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61818"/>
                  </a:ext>
                </a:extLst>
              </a:tr>
              <a:tr h="7505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РЛЫҒ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06 46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67 74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57 30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41 49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49 16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27 75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21412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02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 БОЙЫНША АҚПАРАТ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5A62DD89-8979-CCA6-ADF5-7E149821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5809298"/>
              </p:ext>
            </p:extLst>
          </p:nvPr>
        </p:nvGraphicFramePr>
        <p:xfrm>
          <a:off x="344415" y="948677"/>
          <a:ext cx="11514052" cy="5279688"/>
        </p:xfrm>
        <a:graphic>
          <a:graphicData uri="http://schemas.openxmlformats.org/drawingml/2006/table">
            <a:tbl>
              <a:tblPr/>
              <a:tblGrid>
                <a:gridCol w="1436401">
                  <a:extLst>
                    <a:ext uri="{9D8B030D-6E8A-4147-A177-3AD203B41FA5}">
                      <a16:colId xmlns:a16="http://schemas.microsoft.com/office/drawing/2014/main" val="3397614102"/>
                    </a:ext>
                  </a:extLst>
                </a:gridCol>
                <a:gridCol w="3243714">
                  <a:extLst>
                    <a:ext uri="{9D8B030D-6E8A-4147-A177-3AD203B41FA5}">
                      <a16:colId xmlns:a16="http://schemas.microsoft.com/office/drawing/2014/main" val="1502881915"/>
                    </a:ext>
                  </a:extLst>
                </a:gridCol>
                <a:gridCol w="3724977">
                  <a:extLst>
                    <a:ext uri="{9D8B030D-6E8A-4147-A177-3AD203B41FA5}">
                      <a16:colId xmlns:a16="http://schemas.microsoft.com/office/drawing/2014/main" val="537026919"/>
                    </a:ext>
                  </a:extLst>
                </a:gridCol>
                <a:gridCol w="3108960">
                  <a:extLst>
                    <a:ext uri="{9D8B030D-6E8A-4147-A177-3AD203B41FA5}">
                      <a16:colId xmlns:a16="http://schemas.microsoft.com/office/drawing/2014/main" val="3352297387"/>
                    </a:ext>
                  </a:extLst>
                </a:gridCol>
              </a:tblGrid>
              <a:tr h="612284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indent="457200"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Р</a:t>
                      </a:r>
                      <a:endParaRPr lang="x-none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К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323301"/>
                  </a:ext>
                </a:extLst>
              </a:tr>
              <a:tr h="261905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 ж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 17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3703"/>
                  </a:ext>
                </a:extLst>
              </a:tr>
              <a:tr h="261253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63 870 01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8525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1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674188"/>
                  </a:ext>
                </a:extLst>
              </a:tr>
              <a:tr h="25724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 ж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6 47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747904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43 862 75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899617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295091"/>
                  </a:ext>
                </a:extLst>
              </a:tr>
              <a:tr h="25724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0 ж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9 65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173196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28 080 41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933920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99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152217"/>
                  </a:ext>
                </a:extLst>
              </a:tr>
              <a:tr h="257867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1 ж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87 554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37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289636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611 494 874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0 740 078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898831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094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3 935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489772"/>
                  </a:ext>
                </a:extLst>
              </a:tr>
              <a:tr h="257867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 ж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82 68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1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457495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12 708 729 557 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2 673 148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299464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571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 733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410118"/>
                  </a:ext>
                </a:extLst>
              </a:tr>
              <a:tr h="25724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ж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31 685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60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51</a:t>
                      </a:r>
                      <a:endParaRPr lang="en-US" sz="16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626662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ЖТ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452 468 05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00 509 388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487456"/>
                  </a:ext>
                </a:extLst>
              </a:tr>
              <a:tr h="281866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таша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82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 333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873260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8708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0" y="0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ЖЫЛҒЫ БӨЛШЕК САЛЫҚ АСР ТАБЫСЫНЫҢ СОМАСЫ БОЙЫНША ГРАДАЦИЯ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75792"/>
              </p:ext>
            </p:extLst>
          </p:nvPr>
        </p:nvGraphicFramePr>
        <p:xfrm>
          <a:off x="258556" y="1127603"/>
          <a:ext cx="11664000" cy="56751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382967787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18959589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23358577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89531318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09816661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66313306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00566902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918750966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3434807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75085292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0401716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38595543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974171786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725797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93317115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633719104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15500128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74904411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539026305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дация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К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b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п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0443560"/>
                  </a:ext>
                </a:extLst>
              </a:tr>
              <a:tr h="5013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ме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с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ме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ме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с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ме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ме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с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уіме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мағ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762762"/>
                  </a:ext>
                </a:extLst>
              </a:tr>
              <a:tr h="316568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өлдік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99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9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328913"/>
                  </a:ext>
                </a:extLst>
              </a:tr>
              <a:tr h="316568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63112"/>
                  </a:ext>
                </a:extLst>
              </a:tr>
              <a:tr h="4448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ден 5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4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4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074959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тен 10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4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8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8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6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5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2763919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тен 20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5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49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4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4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83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976467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-тен 50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5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941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9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91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4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 86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044030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тен 100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1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 46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 32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2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 79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136421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-тен 500 млн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7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7 07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 033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0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9 10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935895"/>
                  </a:ext>
                </a:extLst>
              </a:tr>
              <a:tr h="62745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ллионна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ллиардқа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 97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 01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,3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6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4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 99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675927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ллиардтан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там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 14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 22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 37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9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715915"/>
                  </a:ext>
                </a:extLst>
              </a:tr>
              <a:tr h="316568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пы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рытынд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944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9 584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18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2 650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462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52 235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568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074219" y="844204"/>
            <a:ext cx="120831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050" i="1" dirty="0">
                <a:latin typeface="Arial" panose="020B0604020202020204" pitchFamily="34" charset="0"/>
                <a:cs typeface="Arial" panose="020B0604020202020204" pitchFamily="34" charset="0"/>
              </a:rPr>
              <a:t>млн. теңге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876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0470879" y="607251"/>
            <a:ext cx="1311662" cy="240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239"/>
              </a:lnSpc>
            </a:pPr>
            <a:r>
              <a:rPr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тенге</a:t>
            </a:r>
          </a:p>
        </p:txBody>
      </p:sp>
      <p:sp>
        <p:nvSpPr>
          <p:cNvPr id="48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ЕДЕНИЯ ПО ПЛАТЕЛЬЩИКАМ СНР НА ОСНОВЕ УПРОЩЕННОЙ ДЕКЛАРАЦИИ</a:t>
            </a:r>
            <a:endParaRPr lang="en-US" sz="2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3" y="0"/>
            <a:ext cx="12181117" cy="68498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ға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дей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мен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ысу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СР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396468"/>
              </p:ext>
            </p:extLst>
          </p:nvPr>
        </p:nvGraphicFramePr>
        <p:xfrm>
          <a:off x="162962" y="869263"/>
          <a:ext cx="10963749" cy="5968421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7424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9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9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9644">
                  <a:extLst>
                    <a:ext uri="{9D8B030D-6E8A-4147-A177-3AD203B41FA5}">
                      <a16:colId xmlns:a16="http://schemas.microsoft.com/office/drawing/2014/main" val="1901863751"/>
                    </a:ext>
                  </a:extLst>
                </a:gridCol>
              </a:tblGrid>
              <a:tr h="3429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ҚЖЖ (</a:t>
                      </a: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ші</a:t>
                      </a:r>
                      <a:r>
                        <a:rPr lang="ru-RU" sz="11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ім</a:t>
                      </a:r>
                      <a:r>
                        <a:rPr lang="ru-RU" sz="11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сы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су</a:t>
                      </a:r>
                      <a:r>
                        <a:rPr lang="ru-RU" sz="11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үлесі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к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ді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сын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8 599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мобильд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тоциклд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сына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4 05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рылыс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тары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7 963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рл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быржол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лігінің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4 747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мобильд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тоциклд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сы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пағанд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терм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6 834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жымайты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үлікпе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ерациялар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5 825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ғ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лғ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лизинг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7 093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имаратта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л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0 281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ілім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 367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мобильд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тоциклдердің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терм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с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ард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өнде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 39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әул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женерлі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зденіст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кал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ынақта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да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асындағ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 222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йм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уашылығ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алқ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лі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 126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ақпе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сындарме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амасыз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т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87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ьютерлі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дарламала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ңес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еру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а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йланыст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09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рнамал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ъюнктурасы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тте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 17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тынушыларғ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 674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Ғимараттарғ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умақтард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баттандыр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өніндегі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80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шинала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бдықтард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өнде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нат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43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аматт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рылыс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12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ы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алард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сімді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л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уашылығ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ң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ула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 14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34294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рциял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і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дауғ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ытталға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ңс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кімшілі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алқ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асындағ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 845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уіпсіздікті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амасыз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т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ге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өніндегі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703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орт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малыс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йын-сау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йымдастыр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асындағ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187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ьютерлерді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к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тын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тары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рмыст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арлард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өнде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 136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шиналар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бдықтарда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йы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талл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йымдарын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діру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802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ық-түлік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дірісі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 375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параттық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асындағы</a:t>
                      </a: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946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лары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5 424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1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лығы</a:t>
                      </a:r>
                      <a:endParaRPr lang="ru-RU" sz="115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70 241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RU" sz="115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5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6555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-1" y="14609"/>
            <a:ext cx="12181117" cy="68498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ТЫН АСР ЖОБАСЫ БОЙЫНША САЛЫҚ КОДЕКСІНІҢ (1/1)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765202"/>
              </p:ext>
            </p:extLst>
          </p:nvPr>
        </p:nvGraphicFramePr>
        <p:xfrm>
          <a:off x="126749" y="819013"/>
          <a:ext cx="12012183" cy="5975350"/>
        </p:xfrm>
        <a:graphic>
          <a:graphicData uri="http://schemas.openxmlformats.org/drawingml/2006/table">
            <a:tbl>
              <a:tblPr/>
              <a:tblGrid>
                <a:gridCol w="18762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11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81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17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086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70608">
                  <a:extLst>
                    <a:ext uri="{9D8B030D-6E8A-4147-A177-3AD203B41FA5}">
                      <a16:colId xmlns:a16="http://schemas.microsoft.com/office/drawing/2014/main" val="1627706776"/>
                    </a:ext>
                  </a:extLst>
                </a:gridCol>
              </a:tblGrid>
              <a:tr h="434168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ысан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гі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керлер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613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ін-өзі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ығандарға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Р (патент, МҚ, ПЖҚ)</a:t>
                      </a:r>
                      <a:endParaRPr lang="ru-RU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b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80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ЕК </a:t>
                      </a:r>
                      <a:b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млн </a:t>
                      </a:r>
                      <a:r>
                        <a:rPr lang="ru-RU" sz="14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ұмысшылар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қ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тек МЗЖ, ӘА, МӘМС, ЖТС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endParaRPr lang="ru-RU" sz="1400" b="1" i="0" u="sng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к </a:t>
                      </a:r>
                      <a:r>
                        <a:rPr lang="ru-RU" sz="14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ізімге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әйкес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22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етілге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екларация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інде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С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, ЖШ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0 000 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ЕК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,2 млрд </a:t>
                      </a:r>
                      <a:r>
                        <a:rPr lang="ru-RU" sz="1400" b="0" i="1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35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ЕК (500 млн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гі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ріс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інд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ЖК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ухгалтерлік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і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үргізбеу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ктеу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2С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(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әслихаттардың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50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ге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мендету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ғарылату</a:t>
                      </a:r>
                      <a:r>
                        <a:rPr lang="ru-RU" sz="1400" b="1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қығы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для производства </a:t>
                      </a:r>
                      <a:endParaRPr lang="ru-RU" sz="1400" b="1" i="0" u="none" strike="noStrike" kern="1200" baseline="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% В2В - ЖБР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данаты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леушілерг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өрсетілге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уарлар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ұмыстар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endParaRPr lang="kk-KZ" sz="1400" b="1" i="0" u="none" strike="noStrike" kern="1200" baseline="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йым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алу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імі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0" i="1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імге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1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әйкес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лайд 2)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ара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йланысты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аптар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асындағы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герім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ектеу</a:t>
                      </a:r>
                      <a:endParaRPr kumimoji="1"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688657"/>
                  </a:ext>
                </a:extLst>
              </a:tr>
              <a:tr h="171055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жалықтары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СР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уа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жалықтары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ңілдіктер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рынғыдай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қталады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тек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СН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йыла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ырып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ҚҚ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ЖТС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рінд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ленеді</a:t>
                      </a: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тың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,5% </a:t>
                      </a:r>
                    </a:p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сіз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йдаланылған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рлер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р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ғы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алық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нің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ленге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інде</a:t>
                      </a:r>
                      <a:endParaRPr lang="kk-KZ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7535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69829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ӨЗІН-ӨЗІ ЖҰМЫСПЕН ҚАМТЫҒАНДАР ҮШІН СНР БОЙЫНША РҰҚСАТ ЕТІЛГЕН ҚЫЗМЕТ ТҮРЛЕРІ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(1/2)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7841055" y="6377571"/>
            <a:ext cx="41148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204834" y="958315"/>
            <a:ext cx="5664200" cy="56246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ла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аш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с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аш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с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ендерд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бу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рғалард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пт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я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н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такс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гіме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жымайт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тография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нетүсірілім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рм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зш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баш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жымайт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к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дауғ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беру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дениет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екш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тім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ьютерл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фериялы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д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мысты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імд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>
              <a:buFont typeface="+mj-lt"/>
              <a:buAutoNum type="arabicParenR"/>
            </a:pP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штараз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145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kumimoji="1" lang="kk-KZ" sz="145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210300" y="958315"/>
            <a:ext cx="5981700" cy="37394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) дизайн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r>
              <a:rPr lang="ru-RU" sz="15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) маникюр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дикюр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теринариялы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келері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қтар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рлард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кзалдард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терлердің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-тоқаш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дитерлік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сір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д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майт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шт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елтілімдері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з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ьерлік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з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зыкалық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птард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д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уарлары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ю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тажд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)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е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т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ан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пт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лерін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тажда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kumimoji="1" lang="kk-KZ" sz="1200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0475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2465</TotalTime>
  <Words>2619</Words>
  <Application>Microsoft Office PowerPoint</Application>
  <PresentationFormat>Широкоэкранный</PresentationFormat>
  <Paragraphs>809</Paragraphs>
  <Slides>1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Arial</vt:lpstr>
      <vt:lpstr>Bookman Old Style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User</cp:lastModifiedBy>
  <cp:revision>230</cp:revision>
  <cp:lastPrinted>2024-09-25T13:16:14Z</cp:lastPrinted>
  <dcterms:created xsi:type="dcterms:W3CDTF">2024-05-17T10:30:13Z</dcterms:created>
  <dcterms:modified xsi:type="dcterms:W3CDTF">2024-10-07T01:49:25Z</dcterms:modified>
</cp:coreProperties>
</file>